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4"/>
  </p:sldMasterIdLst>
  <p:notesMasterIdLst>
    <p:notesMasterId r:id="rId20"/>
  </p:notesMasterIdLst>
  <p:sldIdLst>
    <p:sldId id="269" r:id="rId5"/>
    <p:sldId id="297" r:id="rId6"/>
    <p:sldId id="266" r:id="rId7"/>
    <p:sldId id="412" r:id="rId8"/>
    <p:sldId id="414" r:id="rId9"/>
    <p:sldId id="423" r:id="rId10"/>
    <p:sldId id="424" r:id="rId11"/>
    <p:sldId id="428" r:id="rId12"/>
    <p:sldId id="419" r:id="rId13"/>
    <p:sldId id="416" r:id="rId14"/>
    <p:sldId id="415" r:id="rId15"/>
    <p:sldId id="417" r:id="rId16"/>
    <p:sldId id="425" r:id="rId17"/>
    <p:sldId id="426" r:id="rId18"/>
    <p:sldId id="427" r:id="rId19"/>
  </p:sldIdLst>
  <p:sldSz cx="9144000" cy="6858000" type="screen4x3"/>
  <p:notesSz cx="7104063"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9" autoAdjust="0"/>
    <p:restoredTop sz="81797" autoAdjust="0"/>
  </p:normalViewPr>
  <p:slideViewPr>
    <p:cSldViewPr snapToObjects="1">
      <p:cViewPr varScale="1">
        <p:scale>
          <a:sx n="71" d="100"/>
          <a:sy n="71" d="100"/>
        </p:scale>
        <p:origin x="1128" y="58"/>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200" d="100"/>
        <a:sy n="200" d="100"/>
      </p:scale>
      <p:origin x="0" y="0"/>
    </p:cViewPr>
  </p:sorterViewPr>
  <p:notesViewPr>
    <p:cSldViewPr snapToObjects="1">
      <p:cViewPr varScale="1">
        <p:scale>
          <a:sx n="67" d="100"/>
          <a:sy n="67" d="100"/>
        </p:scale>
        <p:origin x="3067" y="-269"/>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45144" y="530263"/>
            <a:ext cx="5627687" cy="4221162"/>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944425"/>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161222"/>
          </a:xfrm>
        </p:spPr>
        <p:txBody>
          <a:bodyPr/>
          <a:lstStyle/>
          <a:p>
            <a:r>
              <a:rPr kumimoji="1" lang="ja-JP" altLang="en-US" dirty="0">
                <a:latin typeface="Meiryo UI" panose="020B0604030504040204" pitchFamily="50" charset="-128"/>
                <a:ea typeface="Meiryo UI" panose="020B0604030504040204" pitchFamily="50" charset="-128"/>
              </a:rPr>
              <a:t>みなさん、こんにちは。</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電源の入れ方・ボタン操作の仕方をご説明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よろしくお願いいた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リンゴのマークがスマートフォンについてはいませんでしょうか？</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その場合、お持ちのスマートフォンは</a:t>
            </a:r>
            <a:r>
              <a:rPr kumimoji="1" lang="en-US" altLang="ja-JP" dirty="0">
                <a:latin typeface="Meiryo UI" panose="020B0604030504040204" pitchFamily="50" charset="-128"/>
                <a:ea typeface="Meiryo UI" panose="020B0604030504040204" pitchFamily="50" charset="-128"/>
              </a:rPr>
              <a:t>Apple</a:t>
            </a:r>
            <a:r>
              <a:rPr kumimoji="1" lang="ja-JP" altLang="en-US" dirty="0">
                <a:latin typeface="Meiryo UI" panose="020B0604030504040204" pitchFamily="50" charset="-128"/>
                <a:ea typeface="Meiryo UI" panose="020B0604030504040204" pitchFamily="50" charset="-128"/>
              </a:rPr>
              <a:t>社のアイフォン（</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という機種になるので、残念ながら本講座の対象外になってしまい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まま聞いていただいてもあまりお役には立てないかと思います。ご了承下さい。</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93349"/>
            <a:endParaRPr lang="en-US" altLang="ja-JP" sz="18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改めての確認になりますが、</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ボタンと音量ボタンの場所を確認しましょう。</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お使いの機種によって異なりますが、多くの機種では左右どちらかの側面にあ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ボタンについては、上側を押すと音量が大きくなり、下側を押すと音量が小さく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スマートフォン各部の役割についてお話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も機種によって異なりますのでご注意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画面側の機能から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上部が音が出るスピーカー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する際はこの箇所を耳に当てるようにすると聞き取りやすくな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ピーカー近くにある小さな丸が前面カメラ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自身の顔などを撮影する際に使用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下部右側にある左向きの矢印は一つ前に戻るボタン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中央の丸ボタンはホームボタンです。このボタンを押すとホーム画面に戻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三本線のボタンは「タスク管理ボタン」といい、使用中の機能を一覧で確認す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本体最下部に充電口があ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背面側の機能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裏側にある丸い箇所が背面カメラ、その下がフラッシュにな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本体最下部には充電口とスピーカーと音を拾うマイクがあります。</a:t>
            </a: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最新のスマートフォンにはイヤホンジャックがないものもあるので説明の際には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スピーカーの位置とカメラの位置はしっかりと伝え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9"/>
            <a:ext cx="5683250" cy="4606038"/>
          </a:xfrm>
        </p:spPr>
        <p:txBody>
          <a:bodyPr/>
          <a:lstStyle/>
          <a:p>
            <a:pPr indent="96146"/>
            <a:r>
              <a:rPr lang="ja-JP" altLang="en-US" dirty="0">
                <a:latin typeface="Meiryo UI" panose="020B0604030504040204" pitchFamily="50" charset="-128"/>
                <a:ea typeface="Meiryo UI" panose="020B0604030504040204" pitchFamily="50" charset="-128"/>
              </a:rPr>
              <a:t>先ほど画面側の機能説明でもご紹介しましたホームボタンを紹介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ホームボタンを押すことで表示される画面を「ホーム画面」と呼び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t>何か操作を始める場合や、やりたいことがある場合、また、アプリの操作を終える際もホームボタンを押しましょう。</a:t>
            </a:r>
          </a:p>
          <a:p>
            <a:pPr indent="96146"/>
            <a:endParaRPr lang="ja-JP" altLang="en-US" dirty="0"/>
          </a:p>
          <a:p>
            <a:pPr indent="96146"/>
            <a:r>
              <a:rPr lang="ja-JP" altLang="en-US" dirty="0"/>
              <a:t>操作に迷ったら、この「ホームボタン」を押せばホーム画面に戻ることができます。</a:t>
            </a:r>
            <a:endParaRPr lang="en-US" altLang="ja-JP" dirty="0"/>
          </a:p>
          <a:p>
            <a:pPr indent="96146"/>
            <a:endParaRPr lang="ja-JP" altLang="en-US" dirty="0"/>
          </a:p>
          <a:p>
            <a:pPr indent="96146"/>
            <a:r>
              <a:rPr lang="ja-JP" altLang="en-US" dirty="0"/>
              <a:t>スマートフォン操作の起点となりますので、しっかりと覚えておきましょう。</a:t>
            </a:r>
            <a:endParaRPr lang="en-US" altLang="ja-JP" dirty="0"/>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ホームボタンによって表示されるホーム画面が操作を始める起点になる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ホームボタンの重要性が高いので、丁寧に伝えることを意識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続いて、画面表示の見方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様々なマークが並んでいる所を見つけ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各種情報や通知が来ていることを伝えてくれる表示が出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ルファベットの「</a:t>
            </a:r>
            <a:r>
              <a:rPr lang="en-US" altLang="ja-JP" dirty="0">
                <a:latin typeface="Meiryo UI" panose="020B0604030504040204" pitchFamily="50" charset="-128"/>
                <a:ea typeface="Meiryo UI" panose="020B0604030504040204" pitchFamily="50" charset="-128"/>
              </a:rPr>
              <a:t>M</a:t>
            </a:r>
            <a:r>
              <a:rPr lang="ja-JP" altLang="en-US" dirty="0">
                <a:latin typeface="Meiryo UI" panose="020B0604030504040204" pitchFamily="50" charset="-128"/>
                <a:ea typeface="Meiryo UI" panose="020B0604030504040204" pitchFamily="50" charset="-128"/>
              </a:rPr>
              <a:t>（エム）」がかたどられているマークは新しいメールを受信したことを表し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扇型のマークが</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状況を表し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縦に大きいほど強く</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がつながっ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三角形のマークは電話の通信電波状況を表しています。三角形が大きいほど通信電波の状態が良い状態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乾電池のマークにパーセントが表示されている箇所はバッテリーの残量の表示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表示がゼロになるとスマートフォンは使用できないのでご注意ください。</a:t>
            </a: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ja-JP" altLang="en-US" i="1"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91070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次に、クイック設定パネルの使い方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一番上から下にスライドしてみ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動作で出てくる表示をクイック設定パネル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は各種設定が直接できるもので、お知らせ等の状態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表示される項目は異なりますが、主に</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無線イヤホンの設定、マナーモードの設定、懐中電灯機能等の操作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ボタンを押すとホーム画面に戻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263088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01248"/>
            <a:ext cx="5683250" cy="5521317"/>
          </a:xfrm>
        </p:spPr>
        <p:txBody>
          <a:bodyPr/>
          <a:lstStyle/>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続いてマナーモードの設定の仕方を紹介し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マナーモードにより、音以外に振動で着信やお知らせを通知したり、通知を鳴らさない設定を行うことができ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状況に応じた使い分けができるよう、設定を学びましょう。</a:t>
            </a: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まず、前のページでもご説明した、クイック設定パネルを表示した状態にし</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そこから、もう一度画面上部から下にスライドします。</a:t>
            </a: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④の画面のように各項目の説明が出てき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この画面で赤枠内「マナーモード」を押すとマナーモードを切り替えることができます。解除の際も同様の動作になり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押すたびに切り替わりますのでご注意ください。</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調整が終わったらホームボタンを押してホーム画面に戻りましょう。</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マナーモードのマークは、機種によって拡声器（メガホン）の形など、マークが変わります。</a:t>
            </a: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こちらのスマートフォンの表示では、鈴だけの表示で通常通りに音が出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次にスマホが震えているようなマークが表示されている場合、着信時に振動で知らせてくれ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鈴に斜線が入っていると音がならず、振動もありません。</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状況に応じて上手に使い分けてください。</a:t>
            </a: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電源の入れ方、ボタン操作の仕方についての説明は以上です。</a:t>
            </a: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補足説明</a:t>
            </a:r>
            <a:r>
              <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rPr>
              <a:t>】</a:t>
            </a:r>
          </a:p>
          <a:p>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講師の皆様は、今回取り上げる方法以外にも設定方法はあることをお伝えください。</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着信時など音量に関して細かく聞かれた際は「さらに細かい設定もできるのでご安心ください。」とご説明ください。</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4453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電源の入れ方・ボタン操作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電源の入れ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ボタン操作の仕方を中心に、基本的な操作を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を対象にしておりますが、各メーカーのスマートフォンによって画面や機能等がかなり異なって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こで説明する内容とお持ちの</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で表示や動作が異なることがあると思いますが、ご了承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掲載の内容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製品をお持ちでしたら、行えるものとなっておりますのでご安心ください。</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大まかな講座内容を冒頭に提示をし、目的を明確化させま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この章では、スマートフォンの電源の入れ方をご説明します。</a:t>
            </a:r>
          </a:p>
          <a:p>
            <a:pPr indent="96146"/>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495313"/>
          </a:xfrm>
        </p:spPr>
        <p:txBody>
          <a:bodyPr/>
          <a:lstStyle/>
          <a:p>
            <a:pPr indent="96146"/>
            <a:r>
              <a:rPr lang="ja-JP" altLang="en-US" dirty="0">
                <a:latin typeface="Meiryo UI" panose="020B0604030504040204" pitchFamily="50" charset="-128"/>
                <a:ea typeface="Meiryo UI" panose="020B0604030504040204" pitchFamily="50" charset="-128"/>
              </a:rPr>
              <a:t>それでははじめに、スマートフォンの電源について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の電源はどこにあるのでしょうか？</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お使いの機種によって異なりますが、多くの機種では画面から見て右側の位置に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主に細長いボタンと人差し指の幅程度のボタンと２つあり、人差し指程度の幅のボタンが電源であることが多くなってい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ご不明な場合はお持ちの機種の取扱説明書などをご確認いただくことをお勧めいた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ボタンが確認出来たら、電源を入れてみま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を入れるためには、電源ボタンを</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秒以上長押し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が振動したら指を離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２０～３０秒ほど待つと起動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4972441"/>
          </a:xfrm>
        </p:spPr>
        <p:txBody>
          <a:bodyPr/>
          <a:lstStyle/>
          <a:p>
            <a:pPr indent="96146"/>
            <a:r>
              <a:rPr lang="ja-JP" altLang="en-US" dirty="0">
                <a:latin typeface="Meiryo UI" panose="020B0604030504040204" pitchFamily="50" charset="-128"/>
                <a:ea typeface="Meiryo UI" panose="020B0604030504040204" pitchFamily="50" charset="-128"/>
              </a:rPr>
              <a:t>電源を入れると、最初に③のような画面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状態ではロックがかかっており、まだ使用することはできません。</a:t>
            </a:r>
          </a:p>
          <a:p>
            <a:pPr indent="96146"/>
            <a:r>
              <a:rPr lang="ja-JP" altLang="en-US" dirty="0">
                <a:latin typeface="Meiryo UI" panose="020B0604030504040204" pitchFamily="50" charset="-128"/>
                <a:ea typeface="Meiryo UI" panose="020B0604030504040204" pitchFamily="50" charset="-128"/>
              </a:rPr>
              <a:t>ロック画面を解除するには、画面を下から上にスライド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ロック解除画面が出てきたら、ご自身が設定した解除方法でロック解除を行っ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パスワードの入力等を行い、ロックを解除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設定されていない方はこちらの画面は出てきません。</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ロック解除方法はパスワードの入力や指紋認証、顔認証など複数あり機種によって対応するロック方法が異な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marL="0" marR="0" lvl="0" indent="96146" algn="l" defTabSz="914400" rtl="0" eaLnBrk="1" fontAlgn="auto" latinLnBrk="0" hangingPunct="1">
              <a:lnSpc>
                <a:spcPct val="100000"/>
              </a:lnSpc>
              <a:spcBef>
                <a:spcPts val="0"/>
              </a:spcBef>
              <a:spcAft>
                <a:spcPts val="0"/>
              </a:spcAft>
              <a:buClrTx/>
              <a:buSzTx/>
              <a:buFontTx/>
              <a:buNone/>
              <a:tabLst/>
              <a:defRPr/>
            </a:pPr>
            <a:r>
              <a:rPr lang="ja-JP" altLang="en-US" dirty="0"/>
              <a:t>この操作を行うと、スマートフォンが起動しホーム画面が表示されます。</a:t>
            </a:r>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タップをうまくできない受講者もいることが想定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際には「子どもの頭をポンポンと優しくなでる感覚」とご説明し、何度か試してみるように促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スマートフォンの電源を切る際は、</a:t>
            </a:r>
            <a:endParaRPr kumimoji="1" lang="en-US" altLang="ja-JP" dirty="0">
              <a:latin typeface="Meiryo UI" panose="020B0604030504040204" pitchFamily="50" charset="-128"/>
              <a:ea typeface="Meiryo UI" panose="020B0604030504040204" pitchFamily="50" charset="-128"/>
            </a:endParaRPr>
          </a:p>
          <a:p>
            <a:pPr indent="96146"/>
            <a:endParaRPr kumimoji="1" lang="en-US" altLang="ja-JP"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本体側面部の電源ボタンと音量ボタンの上側を同時に押します。</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機種によっては電源ボタンのみの場合もあります。</a:t>
            </a: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②のような画面になりましたら、「電源</a:t>
            </a:r>
            <a:r>
              <a:rPr kumimoji="1" lang="en-US" altLang="ja-JP" dirty="0">
                <a:latin typeface="Meiryo UI" panose="020B0604030504040204" pitchFamily="50" charset="-128"/>
                <a:ea typeface="Meiryo UI" panose="020B0604030504040204" pitchFamily="50" charset="-128"/>
              </a:rPr>
              <a:t>OFF</a:t>
            </a:r>
            <a:r>
              <a:rPr kumimoji="1" lang="ja-JP" altLang="en-US" dirty="0">
                <a:latin typeface="Meiryo UI" panose="020B0604030504040204" pitchFamily="50" charset="-128"/>
                <a:ea typeface="Meiryo UI" panose="020B0604030504040204" pitchFamily="50" charset="-128"/>
              </a:rPr>
              <a:t>」をタップしてください。</a:t>
            </a:r>
          </a:p>
          <a:p>
            <a:pPr indent="96146"/>
            <a:endParaRPr kumimoji="1" lang="en-US" altLang="ja-JP"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お持ちの機種によっては「電源」の表示が先に出る場合もありますので、ご注意ください。</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上に「シャットダウン中</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表示され、電源が切れます。</a:t>
            </a:r>
          </a:p>
          <a:p>
            <a:pPr indent="96146"/>
            <a:endParaRPr lang="en-US" altLang="ja-JP" dirty="0">
              <a:latin typeface="Meiryo UI" panose="020B0604030504040204" pitchFamily="50" charset="-128"/>
              <a:ea typeface="Meiryo UI" panose="020B0604030504040204" pitchFamily="50" charset="-128"/>
            </a:endParaRPr>
          </a:p>
          <a:p>
            <a:pPr indent="96146"/>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66961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次にスリープモードについてご説明しま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は、スマートフォンを使用しない時など、一時的に画面表示を休止させた状態を指し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になったスマートフォンは画面が暗くなりますが、電波はつながっており、</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電源ボタンを押したりスマートフォンを持ち上げたりなどの操作ですぐに立ち上がり、使用できる状態になっています。</a:t>
            </a: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折りたたまれた状態の二つ折り携帯電話に近い状態で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それでは、スリープモードを活用することのメリットは何でしょうか。</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ず、スリープモードにすることで、ポケットやバッグの中で​意図しないタッチ操作をしてしまうことによる誤操作を防止できます。</a:t>
            </a: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次に、余計なバッテリーの消費を抑えられ、それにより、スマートフォンの電池劣化を抑える効果も期待できま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た、この講座ではご案内を割愛いたしますが、起動にパスワードや指紋認証などの設定をすることで</a:t>
            </a: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メールや写真など、見られたくない情報の盗み見防止にも役立ちますので、お時間のある際に設定をお試し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6632106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それでは実際にスリープモードの操作をしてみましょう。</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にする際は、本体側面部の電源ボタンを軽く押しましょう。</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時間は１秒に満たない長さをイメージしてください。</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画面が暗くなったらスリープモードとなりま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を解除したい場合は、電源ボタンをもう一度軽く押すと解除されます。</a:t>
            </a:r>
          </a:p>
          <a:p>
            <a:pPr indent="86199"/>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86199"/>
            <a:r>
              <a:rPr kumimoji="1" lang="ja-JP" altLang="en-US" dirty="0">
                <a:latin typeface="Meiryo UI" panose="020B0604030504040204" pitchFamily="50" charset="-128"/>
                <a:ea typeface="Meiryo UI" panose="020B0604030504040204" pitchFamily="50" charset="-128"/>
              </a:rPr>
              <a:t>しばらくスマートフォンを操作しないでいると画面が暗くなって心配になる受講者がいることが想定され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その際は「スマートフォンは購入時に、しばらく何もしないと数十秒で自動的に暗くなるようになっていますので、ご安心ください。」と説明を入れると良いでしょう。</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た、「スリープモードを解除すればまた操作ができます。」とご説明ください。</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一つ一つの動作に不安を覚えやすいので安心してもらえるように心がけて進行しましょう。</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624282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次はスマートフォンの基本的な操作の仕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F5FC0F-AA68-3516-5C30-4654C7B1AB11}"/>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5D6124FD-FE23-DAC7-287D-3F6BD65C51D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282C1C8-AB5C-0351-67BD-3BAFE12A5176}"/>
              </a:ext>
            </a:extLst>
          </p:cNvPr>
          <p:cNvSpPr>
            <a:spLocks noGrp="1"/>
          </p:cNvSpPr>
          <p:nvPr>
            <p:ph type="dt" sz="half" idx="10"/>
          </p:nvPr>
        </p:nvSpPr>
        <p:spPr/>
        <p:txBody>
          <a:bodyPr/>
          <a:lstStyle/>
          <a:p>
            <a:fld id="{C70CFF24-7FFC-4277-9FB4-947EC7A70945}"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F38816C-9F3B-1B55-5179-92517535D3F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B40C407-0246-52FF-B972-09B3B8A487A9}"/>
              </a:ext>
            </a:extLst>
          </p:cNvPr>
          <p:cNvSpPr>
            <a:spLocks noGrp="1"/>
          </p:cNvSpPr>
          <p:nvPr>
            <p:ph type="sldNum" sz="quarter" idx="12"/>
          </p:nvPr>
        </p:nvSpPr>
        <p:spPr/>
        <p:txBody>
          <a:bodyPr/>
          <a:lstStyle/>
          <a:p>
            <a:fld id="{1BBB367B-FD13-47FB-92B8-A4912052F0AA}"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6805FC50-45CE-D6FB-26A4-4EDD3212D246}"/>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AAD89A1B-34D3-5830-CCCC-C9077B8BA33A}"/>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870F0FAF-21C1-3E38-FAAB-2BE64620BC4E}"/>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510AA86-4A00-D91E-0F16-83C7F0750246}"/>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B9BCCB05-2551-6C7C-8132-86FF475DDF39}"/>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082902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564F3EA-234C-3D05-FA3C-672D67978AA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05F5040-D115-9D0D-3A9F-F18AF036BB90}"/>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547A7AA-87F7-3A91-D03A-3C94C01E8E08}"/>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906F6CF3-3B67-DCB2-14FD-FFE73ECC9F6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87A92E-31E6-F4A2-7839-6675393DEA73}"/>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86280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1CE414C8-5D37-32B3-6970-2F4972F59ABF}"/>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054FE69-E07E-1AEE-9B96-5977AC020EE7}"/>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A9003C1-76B9-17EF-554B-2F51BDDC6AC2}"/>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1FC8BF6-6588-6CD7-0905-8D4B877F39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1A0723-2C26-DB64-27C6-A3D761046D3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829943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73953978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91AFD7-620B-9454-3318-329981B6066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04ED1F-0C45-9372-C83E-1151F0BAEB0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2562571-863A-3522-D070-CB7A5AA6C42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0411385-6DC3-7AB7-C336-56C21F15D2D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1FE39A2-DBFC-787D-8FE2-9A9CD8BFFD5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70495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438840-5FA0-B688-F8EC-DF0B8D760BC6}"/>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9EB4D30-DC3D-3BFD-91DA-DEF607E23E4D}"/>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E82F62-4961-63A0-68B1-C77AA01E5745}"/>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11CDAA5-6DF1-B074-063A-79CBD8CC7A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A96DF4-9DD5-7E52-1678-FDEB91095A6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286462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D4E81DC-3161-D4A5-D8D4-B623B015B8D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32B3090-F15C-FA9F-6D3C-33E0475D8295}"/>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90DEFA0C-EDB4-ACC4-6AF8-3C7DA463783B}"/>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D313BE21-4B90-C356-B3F0-0AE11B23988E}"/>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DF5CC3EB-E20F-02D1-6BAC-70A53C8C645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476A82B-FE93-C005-D77D-67E1FB6E5D84}"/>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349935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4FCC265-2D78-E40A-C010-570959E6F49B}"/>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43A51F2-BC0C-6B52-CA02-E82666134DA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447EEB6-0637-490C-DE2A-00890E708AB7}"/>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17B9D8E-C359-14B6-9820-C20A3832ACF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FEB93FFC-EB2D-0CF9-3C97-F2160B88C81F}"/>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B0F80371-B9A0-2045-6BBA-6AC8AA0ADA0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1B323BD4-9F82-3141-A94D-1B9C83B3A77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C5B49079-8DBA-3A60-2094-A3BF02B92DB5}"/>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2680269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878E3CE-8FE5-C8E8-27CB-855C0192DA68}"/>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91D2854-5C03-DEE9-AEDF-9BD255F34316}"/>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EFD9B853-6DC8-76ED-BD47-D9FD6C0E9ACB}"/>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1FCB74C-6654-47A7-EB5C-D6765BA2398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557948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D19A359-6646-5125-74CF-EC8C7143E62D}"/>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18A3B4D5-93EF-D958-BB29-8B6ADEF687E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4588509-E5A3-F1D2-19F3-34CC0700C32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8298403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ED055E8-299D-8C1B-0F43-40DABD41A2D0}"/>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59B774C-57F9-2BE6-5861-AB7EDC03B6DA}"/>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A21BD1F2-B57E-2ED6-8857-A549293FE67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3DE77D7-D9DD-1973-29A7-8621C2BE56C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DD41D02A-D630-08C1-E9A2-49BF3A8B517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D1C6D9A-131D-D772-AC6F-2221E34D3BE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0698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C90A01B-AD64-DB9E-D935-F3D4709A1E46}"/>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E7CBB6F-9867-61BF-C0DF-B4BEDD019D3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7BF81B8F-5DAF-441A-77AE-BAB4BE6ADD8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0AD6D45D-033A-93F3-1BE1-F084B3BC5F06}"/>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B7E9541C-5991-4071-B8FC-4C56B3FE7C8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A290B3-9DBA-A1CB-4039-ED1D5A14CA1B}"/>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3592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848000AA-E395-52EB-E574-C508E02AACA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648EA32-AFDE-EE55-98A0-F9F9AD40DCC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BF651CA-D28E-F488-90BC-8D49F01EB69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F77AED03-82F3-120B-1D33-4281D2A6C2B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37A0C51E-DEC7-D830-B12C-F5CAE20E193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7DE89F8D-AA32-5114-8A8E-7FA343672FD0}"/>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8703167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E82934EB-CBBE-172A-3945-C05DDABECC6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9642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ダイアグラム&#10;&#10;AI 生成コンテンツは誤りを含む可能性があります。">
            <a:extLst>
              <a:ext uri="{FF2B5EF4-FFF2-40B4-BE49-F238E27FC236}">
                <a16:creationId xmlns:a16="http://schemas.microsoft.com/office/drawing/2014/main" id="{B0D2F833-C435-F996-CCB5-31E280C64B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324E9137-8B0F-F495-8DB5-856A9819D49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B35630BD-798D-E066-FC85-FCD2C86C8C8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図 23" descr="グラフィカル ユーザー インターフェイス, テキスト&#10;&#10;AI 生成コンテンツは誤りを含む可能性があります。">
            <a:extLst>
              <a:ext uri="{FF2B5EF4-FFF2-40B4-BE49-F238E27FC236}">
                <a16:creationId xmlns:a16="http://schemas.microsoft.com/office/drawing/2014/main" id="{1281957D-95A3-DE87-3CE1-3CBF6040865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3160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E88C6EF7-DD3C-E88E-424B-BA13F4068BA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9708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グラフィカル ユーザー インターフェイス, アプリケーション&#10;&#10;AI 生成コンテンツは誤りを含む可能性があります。">
            <a:extLst>
              <a:ext uri="{FF2B5EF4-FFF2-40B4-BE49-F238E27FC236}">
                <a16:creationId xmlns:a16="http://schemas.microsoft.com/office/drawing/2014/main" id="{BF528FC2-957F-35D8-B7A0-7A73DFC7C69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89717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ーブル&#10;&#10;AI 生成コンテンツは誤りを含む可能性があります。">
            <a:extLst>
              <a:ext uri="{FF2B5EF4-FFF2-40B4-BE49-F238E27FC236}">
                <a16:creationId xmlns:a16="http://schemas.microsoft.com/office/drawing/2014/main" id="{7D84D5D0-CA22-925D-3B1F-3697FD18F0E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63288C70-0972-F1D8-BF28-EE4A465A9C2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が含まれている画像&#10;&#10;AI 生成コンテンツは誤りを含む可能性があります。">
            <a:extLst>
              <a:ext uri="{FF2B5EF4-FFF2-40B4-BE49-F238E27FC236}">
                <a16:creationId xmlns:a16="http://schemas.microsoft.com/office/drawing/2014/main" id="{5A835B11-1790-0EE9-65FC-0D80069A589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30291A38-599D-FC90-57FA-732BB7E73CE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2AA8D101-7372-4C59-DCAD-6203C9B9AE0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8876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F0E1B54C-402B-CF38-2949-4086471BF3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3256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タイムライン が含まれている画像&#10;&#10;AI 生成コンテンツは誤りを含む可能性があります。">
            <a:extLst>
              <a:ext uri="{FF2B5EF4-FFF2-40B4-BE49-F238E27FC236}">
                <a16:creationId xmlns:a16="http://schemas.microsoft.com/office/drawing/2014/main" id="{FA964986-75E6-925A-5526-C1642B29903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087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10;&#10;AI 生成コンテンツは誤りを含む可能性があります。">
            <a:extLst>
              <a:ext uri="{FF2B5EF4-FFF2-40B4-BE49-F238E27FC236}">
                <a16:creationId xmlns:a16="http://schemas.microsoft.com/office/drawing/2014/main" id="{0069CF29-1565-0471-40BE-04BD8637AF9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deba4b51-64a5-4b77-ab7f-812b7f55eaf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165</Words>
  <Application>Microsoft Office PowerPoint</Application>
  <PresentationFormat>画面に合わせる (4:3)</PresentationFormat>
  <Paragraphs>270</Paragraphs>
  <Slides>15</Slides>
  <Notes>15</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2" baseType="lpstr">
      <vt:lpstr>Meiryo UI</vt:lpstr>
      <vt:lpstr>游ゴシック</vt: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2: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